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8"/>
  </p:notesMasterIdLst>
  <p:handoutMasterIdLst>
    <p:handoutMasterId r:id="rId9"/>
  </p:handoutMasterIdLst>
  <p:sldIdLst>
    <p:sldId id="435" r:id="rId2"/>
    <p:sldId id="403" r:id="rId3"/>
    <p:sldId id="437" r:id="rId4"/>
    <p:sldId id="436" r:id="rId5"/>
    <p:sldId id="438" r:id="rId6"/>
    <p:sldId id="439" r:id="rId7"/>
  </p:sldIdLst>
  <p:sldSz cx="9906000" cy="6858000" type="A4"/>
  <p:notesSz cx="6797675" cy="9928225"/>
  <p:custDataLst>
    <p:tags r:id="rId1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110" d="100"/>
          <a:sy n="110" d="100"/>
        </p:scale>
        <p:origin x="-1440" y="-9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spPr>
                <a:solidFill>
                  <a:schemeClr val="bg1"/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2</a:t>
                    </a:r>
                    <a:r>
                      <a:rPr lang="ru-RU" smtClean="0"/>
                      <a:t>0</a:t>
                    </a:r>
                    <a:r>
                      <a:rPr lang="en-US" smtClean="0"/>
                      <a:t>,2</a:t>
                    </a:r>
                    <a:endParaRPr lang="en-US" dirty="0"/>
                  </a:p>
                </c:rich>
              </c:tx>
              <c:spPr>
                <a:solidFill>
                  <a:schemeClr val="bg1"/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solidFill>
                  <a:schemeClr val="bg1"/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solidFill>
                  <a:schemeClr val="bg1"/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solidFill>
                  <a:schemeClr val="bg1"/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1:$A$5</c:f>
              <c:strCache>
                <c:ptCount val="5"/>
                <c:pt idx="0">
                  <c:v>Алтайский край</c:v>
                </c:pt>
                <c:pt idx="1">
                  <c:v>Омская область</c:v>
                </c:pt>
                <c:pt idx="2">
                  <c:v>Кемеровская область</c:v>
                </c:pt>
                <c:pt idx="3">
                  <c:v>Новосибирская область</c:v>
                </c:pt>
                <c:pt idx="4">
                  <c:v>Томская область</c:v>
                </c:pt>
              </c:strCache>
            </c:strRef>
          </c:cat>
          <c:val>
            <c:numRef>
              <c:f>Лист1!$B$1:$B$5</c:f>
              <c:numCache>
                <c:formatCode>General</c:formatCode>
                <c:ptCount val="5"/>
                <c:pt idx="0">
                  <c:v>30.5</c:v>
                </c:pt>
                <c:pt idx="1">
                  <c:v>25.2</c:v>
                </c:pt>
                <c:pt idx="2">
                  <c:v>1.5</c:v>
                </c:pt>
                <c:pt idx="3">
                  <c:v>5.6</c:v>
                </c:pt>
                <c:pt idx="4">
                  <c:v>4.40000000000000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07526400"/>
        <c:axId val="33045120"/>
      </c:barChart>
      <c:catAx>
        <c:axId val="107526400"/>
        <c:scaling>
          <c:orientation val="maxMin"/>
        </c:scaling>
        <c:delete val="0"/>
        <c:axPos val="l"/>
        <c:numFmt formatCode="0.00%" sourceLinked="0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  <a:softEdge rad="0"/>
          </a:effectLst>
        </c:spPr>
        <c:crossAx val="33045120"/>
        <c:crosses val="autoZero"/>
        <c:auto val="1"/>
        <c:lblAlgn val="ctr"/>
        <c:lblOffset val="10"/>
        <c:noMultiLvlLbl val="0"/>
      </c:catAx>
      <c:valAx>
        <c:axId val="33045120"/>
        <c:scaling>
          <c:orientation val="minMax"/>
        </c:scaling>
        <c:delete val="1"/>
        <c:axPos val="t"/>
        <c:numFmt formatCode="General" sourceLinked="0"/>
        <c:majorTickMark val="none"/>
        <c:minorTickMark val="none"/>
        <c:tickLblPos val="nextTo"/>
        <c:crossAx val="107526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4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4.05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BAABF6D-7A86-42FF-83D8-840815BA6576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1B2714F-0669-4DB2-A7E0-56399068731E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5CBB8BF-CF05-4A74-BD36-4BE1517A239C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997B5C-845A-406D-80ED-992A5C8FCBF5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E01877-BFAF-418E-A64C-8B6931711964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A8BD94-C718-41F8-9D1D-F607E9D46D8D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A5094C9-CEF9-49DF-82E4-0A98A8258C20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3C5FF3-2838-4CF4-822D-C21C77CDB953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508579-A3A2-45FB-8F46-0E5AEE329D9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49B066-8DC7-4759-946E-168F549BA338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5BEB1C-C462-49FE-A53D-45F6F92DD86D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212FD58-936B-431F-A44E-7D64D21E50B9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gi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11" Type="http://schemas.openxmlformats.org/officeDocument/2006/relationships/hyperlink" Target="https://base.garant.ru/12148944/" TargetMode="External"/><Relationship Id="rId5" Type="http://schemas.openxmlformats.org/officeDocument/2006/relationships/notesSlide" Target="../notesSlides/notesSlide6.xml"/><Relationship Id="rId10" Type="http://schemas.openxmlformats.org/officeDocument/2006/relationships/hyperlink" Target="https://base.garant.ru/12148944/5d82adf9f5601a048f10d8bb97ca59b6/#block_1000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base.garant.ru/12138291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301208"/>
            <a:ext cx="9150350" cy="1296144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бак Евгений Яковлевич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межрегионального отдела по надзору за подъемными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ружениями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dirty="0">
                <a:solidFill>
                  <a:schemeClr val="tx1">
                    <a:lumMod val="95000"/>
                  </a:schemeClr>
                </a:solidFill>
                <a:cs typeface="Times New Roman" panose="02020603050405020304" pitchFamily="18" charset="0"/>
              </a:rPr>
              <a:t>О реализации пункта 5.5 статьи 6 Технического регламента Таможенного союза. Безопасность лифтов. ТР ТС 011/2001</a:t>
            </a:r>
            <a:endParaRPr lang="ru-RU" sz="3600" b="1" dirty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39" name="Picture 167" descr="C:\Users\od.derksen\Desktop\Рисунок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744" y="2096638"/>
            <a:ext cx="4680173" cy="3420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933364" y="970690"/>
            <a:ext cx="855613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all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</a:t>
            </a:r>
            <a:r>
              <a:rPr lang="ru-RU" sz="2000" b="0" u="sng" kern="0" cap="all" dirty="0" err="1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лномочиях</a:t>
            </a: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:</a:t>
            </a:r>
            <a:endParaRPr kumimoji="0" lang="ru-RU" sz="2000" b="0" i="0" u="sng" strike="noStrike" kern="0" cap="all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87938" y="1484784"/>
            <a:ext cx="85963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Blip>
                <a:blip r:embed="rId10"/>
              </a:buBlip>
            </a:pPr>
            <a:r>
              <a:rPr lang="ru-RU" sz="2400" b="0" dirty="0" err="1" smtClean="0"/>
              <a:t>Ростехнадзор</a:t>
            </a:r>
            <a:r>
              <a:rPr lang="ru-RU" sz="2400" b="0" dirty="0" smtClean="0"/>
              <a:t> осуществляет контроль и надзор </a:t>
            </a:r>
            <a:r>
              <a:rPr lang="ru-RU" sz="2400" b="0" dirty="0"/>
              <a:t>в области безопасного использования и содержания </a:t>
            </a:r>
            <a:r>
              <a:rPr lang="ru-RU" sz="2400" b="0" dirty="0" smtClean="0"/>
              <a:t>лифтов</a:t>
            </a:r>
            <a:endParaRPr lang="ru-RU" b="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716861" y="5517232"/>
            <a:ext cx="70818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Blip>
                <a:blip r:embed="rId10"/>
              </a:buBlip>
            </a:pPr>
            <a:r>
              <a:rPr lang="ru-RU" sz="2400" b="0" dirty="0"/>
              <a:t>Технический регламент Таможенного союза «Безопасность лифтов» (ТР ТС 011/2011)</a:t>
            </a:r>
          </a:p>
        </p:txBody>
      </p:sp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21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2752548"/>
              </p:ext>
            </p:extLst>
          </p:nvPr>
        </p:nvGraphicFramePr>
        <p:xfrm>
          <a:off x="1784648" y="1772816"/>
          <a:ext cx="6945188" cy="4562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1496616" y="614413"/>
            <a:ext cx="813690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400" dirty="0"/>
              <a:t>Процентное соотношение  лифтов, отработавших назначенный срок службы к общему количеству лифтов</a:t>
            </a:r>
          </a:p>
        </p:txBody>
      </p:sp>
    </p:spTree>
    <p:extLst>
      <p:ext uri="{BB962C8B-B14F-4D97-AF65-F5344CB8AC3E}">
        <p14:creationId xmlns:p14="http://schemas.microsoft.com/office/powerpoint/2010/main" val="106921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 descr="C:\Users\od.derksen\Desktop\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32001"/>
            <a:ext cx="5241032" cy="557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897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Заголовок 2"/>
          <p:cNvSpPr>
            <a:spLocks noGrp="1"/>
          </p:cNvSpPr>
          <p:nvPr>
            <p:ph type="title"/>
          </p:nvPr>
        </p:nvSpPr>
        <p:spPr>
          <a:xfrm>
            <a:off x="1064568" y="505535"/>
            <a:ext cx="8406061" cy="1143000"/>
          </a:xfrm>
        </p:spPr>
        <p:txBody>
          <a:bodyPr>
            <a:normAutofit/>
          </a:bodyPr>
          <a:lstStyle/>
          <a:p>
            <a:pPr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400" cap="all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Протокол совещания в прокуратуре Алтайского края</a:t>
            </a:r>
          </a:p>
        </p:txBody>
      </p:sp>
      <p:pic>
        <p:nvPicPr>
          <p:cNvPr id="59395" name="Picture 3" descr="C:\Users\od.derksen\Desktop\2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56" y="1218250"/>
            <a:ext cx="3974518" cy="554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200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1039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Заголовок 5"/>
          <p:cNvSpPr>
            <a:spLocks noGrp="1"/>
          </p:cNvSpPr>
          <p:nvPr>
            <p:ph type="title"/>
          </p:nvPr>
        </p:nvSpPr>
        <p:spPr>
          <a:xfrm>
            <a:off x="1299467" y="413792"/>
            <a:ext cx="7737029" cy="1143000"/>
          </a:xfrm>
        </p:spPr>
        <p:txBody>
          <a:bodyPr>
            <a:normAutofit/>
          </a:bodyPr>
          <a:lstStyle/>
          <a:p>
            <a:pPr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400" cap="all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Индикаторы риска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half" idx="4294967295"/>
          </p:nvPr>
        </p:nvSpPr>
        <p:spPr>
          <a:xfrm>
            <a:off x="4224376" y="1340768"/>
            <a:ext cx="5553160" cy="54006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40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1. Отсутствие </a:t>
            </a:r>
            <a:r>
              <a:rPr lang="ru-RU" sz="14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сведений о выводе отработавшего назначенный срок службы лифта, подъемной платформы для инвалидов, пассажирского конвейера (движущейся пешеходной дорожки) или эскалатора, за исключением эскалаторов в метрополитенах (далее - опасное техническое устройство здания и сооружения), из эксплуатации (за исключением устройств, установленных в многоквартирных домах), свидетельствующих о прекращении его использования в связи с демонтажем или с целью последующего проведения модернизации, более 30 календарных дней с даты истечения назначенного срока службы соответствующего устройства</a:t>
            </a:r>
            <a:r>
              <a:rPr lang="ru-RU" sz="140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buNone/>
            </a:pPr>
            <a:endParaRPr lang="ru-RU" sz="14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14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2. Отсутствие в реестре опасных технических устройств здания и сооружения сведений об опасном техническом устройстве здания и сооружения, установленном на объекте капитального строительства, более 20 рабочих дней со дня ввода такого объекта капитального строительства в эксплуатацию</a:t>
            </a:r>
            <a:r>
              <a:rPr lang="ru-RU" sz="140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buNone/>
            </a:pPr>
            <a:endParaRPr lang="ru-RU" sz="14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14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3. Отсутствие сведений о выводе отработавшего назначенный срок службы &lt;1&gt; и установленного в многоквартирном доме опасного технического устройства здания и сооружения из эксплуатации, свидетельствующих о прекращении его использования в связи с демонтажем или с целью последующего проведения модернизации, более 30 календарных дней с даты истечения назначенного срока службы соответствующего устройства.</a:t>
            </a:r>
          </a:p>
        </p:txBody>
      </p:sp>
      <p:pic>
        <p:nvPicPr>
          <p:cNvPr id="61444" name="Picture 4" descr="C:\Users\od.derksen\Desktop\3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23" y="1233216"/>
            <a:ext cx="4008353" cy="557239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063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38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Объект 2"/>
          <p:cNvSpPr>
            <a:spLocks noGrp="1"/>
          </p:cNvSpPr>
          <p:nvPr>
            <p:ph sz="half" idx="1"/>
          </p:nvPr>
        </p:nvSpPr>
        <p:spPr>
          <a:xfrm>
            <a:off x="460375" y="1340768"/>
            <a:ext cx="9101137" cy="4925144"/>
          </a:xfrm>
        </p:spPr>
        <p:txBody>
          <a:bodyPr>
            <a:normAutofit fontScale="25000" lnSpcReduction="20000"/>
          </a:bodyPr>
          <a:lstStyle/>
          <a:p>
            <a:pPr marL="0" indent="0">
              <a:lnSpc>
                <a:spcPct val="120000"/>
              </a:lnSpc>
              <a:spcBef>
                <a:spcPct val="0"/>
              </a:spcBef>
              <a:buNone/>
            </a:pPr>
            <a:endParaRPr lang="ru-RU" sz="440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720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«Владелец объекта»:</a:t>
            </a:r>
            <a:endParaRPr lang="ru-RU" sz="72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юридическое лицо или индивидуальный предприниматель, владеющие объектом на праве собственности либо ином законном основании и осуществляющие использование и содержание объекта;</a:t>
            </a:r>
          </a:p>
          <a:p>
            <a:pPr marL="0" indent="0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 отношении объектов в многоквартирном доме - лицо, осуществляющее управление многоквартирным домом в соответствии с 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hlinkClick r:id="rId9"/>
              </a:rPr>
              <a:t>Жилищным кодексом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 Российской Федерации;</a:t>
            </a:r>
          </a:p>
          <a:p>
            <a:pPr marL="0" indent="0">
              <a:lnSpc>
                <a:spcPct val="120000"/>
              </a:lnSpc>
              <a:spcBef>
                <a:spcPct val="0"/>
              </a:spcBef>
              <a:buNone/>
            </a:pP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 случае непосредственного управления многоквартирным домом собственниками помещений в таком доме и в случаях, если способ управления многоквартирным домом не выбран или не реализован, - специализированная организация, заключившая договор о содержании и ремонте общего имущества многоквартирного дома в отношении объекта, в соответствии с 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hlinkClick r:id="rId10"/>
              </a:rPr>
              <a:t>Правилами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 содержания общего имущества в многоквартирном доме, утвержденными 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hlinkClick r:id="rId11"/>
              </a:rPr>
              <a:t>постановлением</a:t>
            </a:r>
            <a:r>
              <a:rPr lang="ru-RU" sz="720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 Правительства Российской Федерации от 13 августа 2006 г. N 491 "Об утверждении Правил содержания общего имущества в многоквартирном доме и Правил изменения размера платы за содержание жилого помещения в случае оказания услуг и выполнения работ по управлению, содержанию и ремонту общего имущества в многоквартирном доме ненадлежащего качества и (или) с перерывами, превышающими установленную продолжительность"</a:t>
            </a:r>
          </a:p>
          <a:p>
            <a:pPr>
              <a:lnSpc>
                <a:spcPct val="120000"/>
              </a:lnSpc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44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51</TotalTime>
  <Words>329</Words>
  <Application>Microsoft Office PowerPoint</Application>
  <PresentationFormat>Лист A4 (210x297 мм)</PresentationFormat>
  <Paragraphs>41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отокол совещания в прокуратуре Алтайского края</vt:lpstr>
      <vt:lpstr>Индикаторы рис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Табак Евгений Яковлевич</cp:lastModifiedBy>
  <cp:revision>1261</cp:revision>
  <cp:lastPrinted>2020-12-16T06:16:08Z</cp:lastPrinted>
  <dcterms:created xsi:type="dcterms:W3CDTF">2012-04-16T06:44:06Z</dcterms:created>
  <dcterms:modified xsi:type="dcterms:W3CDTF">2024-05-24T01:39:05Z</dcterms:modified>
</cp:coreProperties>
</file>